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5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48" autoAdjust="0"/>
    <p:restoredTop sz="96323" autoAdjust="0"/>
  </p:normalViewPr>
  <p:slideViewPr>
    <p:cSldViewPr snapToGrid="0" snapToObjects="1">
      <p:cViewPr varScale="1">
        <p:scale>
          <a:sx n="72" d="100"/>
          <a:sy n="72" d="100"/>
        </p:scale>
        <p:origin x="596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5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E6C5A57-09FC-4186-A65B-1A2A98D6765B}"/>
              </a:ext>
            </a:extLst>
          </p:cNvPr>
          <p:cNvSpPr/>
          <p:nvPr userDrawn="1"/>
        </p:nvSpPr>
        <p:spPr>
          <a:xfrm>
            <a:off x="0" y="0"/>
            <a:ext cx="12192000" cy="64008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0E75A503-2465-41EF-A00D-512437DC697B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436" y="68161"/>
            <a:ext cx="461350" cy="503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6.jp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623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88" y="-4924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fr-FR" sz="36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harte de l'équipe et </a:t>
            </a:r>
            <a:r>
              <a:rPr lang="fr-FR" sz="3600" b="0">
                <a:solidFill>
                  <a:schemeClr val="bg1"/>
                </a:solidFill>
                <a:latin typeface="Arial Rounded MT Bold" panose="020F0704030504030204" pitchFamily="34" charset="0"/>
              </a:rPr>
              <a:t>guide personnel – À VENIR</a:t>
            </a:r>
            <a:endParaRPr lang="en-US" sz="3600" b="0" dirty="0">
              <a:latin typeface="Arial Rounded MT Bold" panose="020F07040305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338324" cy="678352"/>
          </a:xfrm>
        </p:spPr>
        <p:txBody>
          <a:bodyPr>
            <a:normAutofit/>
          </a:bodyPr>
          <a:lstStyle/>
          <a:p>
            <a:r>
              <a:rPr lang="fr-CA" sz="1600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Gabarits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" y="6142244"/>
            <a:ext cx="12199344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85682" y="4402981"/>
            <a:ext cx="3494087" cy="737503"/>
          </a:xfrm>
        </p:spPr>
        <p:txBody>
          <a:bodyPr/>
          <a:lstStyle/>
          <a:p>
            <a:r>
              <a:rPr lang="en-US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Version 1 </a:t>
            </a:r>
          </a:p>
          <a:p>
            <a:r>
              <a:rPr lang="en-US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 : </a:t>
            </a:r>
            <a:r>
              <a:rPr lang="en-US" sz="1400" dirty="0" err="1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évrier</a:t>
            </a:r>
            <a:r>
              <a:rPr lang="en-US" sz="1400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2023</a:t>
            </a:r>
            <a:endParaRPr lang="en-CA" sz="1400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295CB04-94FE-4003-ACA9-54B5BB8B22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2" y="422911"/>
            <a:ext cx="2906818" cy="5674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7E3E74-0044-5748-7BE9-3740E36AC4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05</TotalTime>
  <Words>17</Words>
  <Application>Microsoft Office PowerPoint</Application>
  <PresentationFormat>Widescreen</PresentationFormat>
  <Paragraphs>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Charte de l'équipe et guide personnel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06</cp:revision>
  <dcterms:created xsi:type="dcterms:W3CDTF">2018-01-23T15:59:12Z</dcterms:created>
  <dcterms:modified xsi:type="dcterms:W3CDTF">2023-02-02T12:22:36Z</dcterms:modified>
</cp:coreProperties>
</file>